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5"/>
  </p:notesMasterIdLst>
  <p:handoutMasterIdLst>
    <p:handoutMasterId r:id="rId16"/>
  </p:handoutMasterIdLst>
  <p:sldIdLst>
    <p:sldId id="256" r:id="rId7"/>
    <p:sldId id="344" r:id="rId8"/>
    <p:sldId id="471" r:id="rId9"/>
    <p:sldId id="487" r:id="rId10"/>
    <p:sldId id="488" r:id="rId11"/>
    <p:sldId id="482" r:id="rId12"/>
    <p:sldId id="484" r:id="rId13"/>
    <p:sldId id="486" r:id="rId14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2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>
        <p:scale>
          <a:sx n="100" d="100"/>
          <a:sy n="100" d="100"/>
        </p:scale>
        <p:origin x="-510" y="72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Barreira" userId="7fd0970c-b3cf-41cb-97a8-b008d4ec6ec9" providerId="ADAL" clId="{7E823099-46A7-4167-ACCC-148691D9D4C5}"/>
    <pc:docChg chg="undo custSel addSld delSld modSld modSection">
      <pc:chgData name="Alex Barreira" userId="7fd0970c-b3cf-41cb-97a8-b008d4ec6ec9" providerId="ADAL" clId="{7E823099-46A7-4167-ACCC-148691D9D4C5}" dt="2020-08-25T20:05:55.156" v="295" actId="14100"/>
      <pc:docMkLst>
        <pc:docMk/>
      </pc:docMkLst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165050812" sldId="27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18936745" sldId="284"/>
        </pc:sldMkLst>
      </pc:sldChg>
      <pc:sldChg chg="addSp delSp modSp mod modClrScheme chgLayout">
        <pc:chgData name="Alex Barreira" userId="7fd0970c-b3cf-41cb-97a8-b008d4ec6ec9" providerId="ADAL" clId="{7E823099-46A7-4167-ACCC-148691D9D4C5}" dt="2020-08-25T20:04:58.876" v="281" actId="20577"/>
        <pc:sldMkLst>
          <pc:docMk/>
          <pc:sldMk cId="948876888" sldId="344"/>
        </pc:sldMkLst>
        <pc:spChg chg="add mod ord">
          <ac:chgData name="Alex Barreira" userId="7fd0970c-b3cf-41cb-97a8-b008d4ec6ec9" providerId="ADAL" clId="{7E823099-46A7-4167-ACCC-148691D9D4C5}" dt="2020-08-25T20:03:11.259" v="120" actId="20577"/>
          <ac:spMkLst>
            <pc:docMk/>
            <pc:sldMk cId="948876888" sldId="344"/>
            <ac:spMk id="2" creationId="{E8B0A577-E3E3-4D35-AA82-89ED5D5451DD}"/>
          </ac:spMkLst>
        </pc:spChg>
        <pc:spChg chg="del mod">
          <ac:chgData name="Alex Barreira" userId="7fd0970c-b3cf-41cb-97a8-b008d4ec6ec9" providerId="ADAL" clId="{7E823099-46A7-4167-ACCC-148691D9D4C5}" dt="2020-08-25T20:03:00.369" v="80" actId="478"/>
          <ac:spMkLst>
            <pc:docMk/>
            <pc:sldMk cId="948876888" sldId="344"/>
            <ac:spMk id="3" creationId="{00000000-0000-0000-0000-000000000000}"/>
          </ac:spMkLst>
        </pc:spChg>
        <pc:spChg chg="add mod ord">
          <ac:chgData name="Alex Barreira" userId="7fd0970c-b3cf-41cb-97a8-b008d4ec6ec9" providerId="ADAL" clId="{7E823099-46A7-4167-ACCC-148691D9D4C5}" dt="2020-08-25T20:04:58.876" v="281" actId="20577"/>
          <ac:spMkLst>
            <pc:docMk/>
            <pc:sldMk cId="948876888" sldId="344"/>
            <ac:spMk id="4" creationId="{C3037102-7C2A-48BA-B19A-E0AB7B0EF163}"/>
          </ac:spMkLst>
        </pc:spChg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512734678" sldId="345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372785582" sldId="418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2707575184" sldId="419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062672438" sldId="43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361284261" sldId="436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982573965" sldId="440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1086979068" sldId="441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3930118019" sldId="442"/>
        </pc:sldMkLst>
      </pc:sldChg>
      <pc:sldChg chg="del">
        <pc:chgData name="Alex Barreira" userId="7fd0970c-b3cf-41cb-97a8-b008d4ec6ec9" providerId="ADAL" clId="{7E823099-46A7-4167-ACCC-148691D9D4C5}" dt="2020-08-25T20:00:58.566" v="0" actId="47"/>
        <pc:sldMkLst>
          <pc:docMk/>
          <pc:sldMk cId="4124287145" sldId="443"/>
        </pc:sldMkLst>
      </pc:sldChg>
      <pc:sldChg chg="modSp add mod">
        <pc:chgData name="Alex Barreira" userId="7fd0970c-b3cf-41cb-97a8-b008d4ec6ec9" providerId="ADAL" clId="{7E823099-46A7-4167-ACCC-148691D9D4C5}" dt="2020-08-25T20:05:55.156" v="295" actId="14100"/>
        <pc:sldMkLst>
          <pc:docMk/>
          <pc:sldMk cId="2008643402" sldId="471"/>
        </pc:sldMkLst>
        <pc:spChg chg="mod">
          <ac:chgData name="Alex Barreira" userId="7fd0970c-b3cf-41cb-97a8-b008d4ec6ec9" providerId="ADAL" clId="{7E823099-46A7-4167-ACCC-148691D9D4C5}" dt="2020-08-25T20:05:17.393" v="283" actId="120"/>
          <ac:spMkLst>
            <pc:docMk/>
            <pc:sldMk cId="2008643402" sldId="471"/>
            <ac:spMk id="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6" creationId="{70825C6F-9257-4CF5-8C62-1CA1EB2F8815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" creationId="{DD175998-7BC4-48E7-B48B-3AD3DB555BC2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" creationId="{5CE7D08C-795B-4BF1-97F6-F9773F4E9F4C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9" creationId="{B60B13C9-0C70-4C0F-82B2-D0CD4FDFC1F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10" creationId="{2C0D7151-D7C4-4C3E-8608-61515AFD4BD7}"/>
          </ac:spMkLst>
        </pc:spChg>
        <pc:spChg chg="mod">
          <ac:chgData name="Alex Barreira" userId="7fd0970c-b3cf-41cb-97a8-b008d4ec6ec9" providerId="ADAL" clId="{7E823099-46A7-4167-ACCC-148691D9D4C5}" dt="2020-08-25T20:05:55.156" v="295" actId="14100"/>
          <ac:spMkLst>
            <pc:docMk/>
            <pc:sldMk cId="2008643402" sldId="471"/>
            <ac:spMk id="73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78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0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2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4" creationId="{00000000-0000-0000-0000-000000000000}"/>
          </ac:spMkLst>
        </pc:spChg>
        <pc:spChg chg="mod">
          <ac:chgData name="Alex Barreira" userId="7fd0970c-b3cf-41cb-97a8-b008d4ec6ec9" providerId="ADAL" clId="{7E823099-46A7-4167-ACCC-148691D9D4C5}" dt="2020-08-25T20:05:35.657" v="292" actId="1037"/>
          <ac:spMkLst>
            <pc:docMk/>
            <pc:sldMk cId="2008643402" sldId="471"/>
            <ac:spMk id="86" creationId="{00000000-0000-0000-0000-000000000000}"/>
          </ac:spMkLst>
        </pc:s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7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79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1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3" creationId="{00000000-0000-0000-0000-000000000000}"/>
          </ac:grpSpMkLst>
        </pc:grpChg>
        <pc:grpChg chg="mod">
          <ac:chgData name="Alex Barreira" userId="7fd0970c-b3cf-41cb-97a8-b008d4ec6ec9" providerId="ADAL" clId="{7E823099-46A7-4167-ACCC-148691D9D4C5}" dt="2020-08-25T20:05:35.657" v="292" actId="1037"/>
          <ac:grpSpMkLst>
            <pc:docMk/>
            <pc:sldMk cId="2008643402" sldId="471"/>
            <ac:grpSpMk id="85" creationId="{00000000-0000-0000-0000-000000000000}"/>
          </ac:grpSpMkLst>
        </pc:grpChg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3103146409" sldId="482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671586173" sldId="484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2606422970" sldId="486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6218586" sldId="487"/>
        </pc:sldMkLst>
      </pc:sldChg>
      <pc:sldChg chg="add">
        <pc:chgData name="Alex Barreira" userId="7fd0970c-b3cf-41cb-97a8-b008d4ec6ec9" providerId="ADAL" clId="{7E823099-46A7-4167-ACCC-148691D9D4C5}" dt="2020-08-25T20:01:20.145" v="1"/>
        <pc:sldMkLst>
          <pc:docMk/>
          <pc:sldMk cId="1935154534" sldId="488"/>
        </pc:sldMkLst>
      </pc:sldChg>
      <pc:sldChg chg="new del">
        <pc:chgData name="Alex Barreira" userId="7fd0970c-b3cf-41cb-97a8-b008d4ec6ec9" providerId="ADAL" clId="{7E823099-46A7-4167-ACCC-148691D9D4C5}" dt="2020-08-25T20:05:11.190" v="282" actId="47"/>
        <pc:sldMkLst>
          <pc:docMk/>
          <pc:sldMk cId="3110969077" sldId="489"/>
        </pc:sldMkLst>
      </pc:sldChg>
      <pc:sldChg chg="add del">
        <pc:chgData name="Alex Barreira" userId="7fd0970c-b3cf-41cb-97a8-b008d4ec6ec9" providerId="ADAL" clId="{7E823099-46A7-4167-ACCC-148691D9D4C5}" dt="2020-08-25T20:02:40.323" v="78" actId="47"/>
        <pc:sldMkLst>
          <pc:docMk/>
          <pc:sldMk cId="918598423" sldId="490"/>
        </pc:sldMkLst>
      </pc:sldChg>
      <pc:sldChg chg="new del">
        <pc:chgData name="Alex Barreira" userId="7fd0970c-b3cf-41cb-97a8-b008d4ec6ec9" providerId="ADAL" clId="{7E823099-46A7-4167-ACCC-148691D9D4C5}" dt="2020-08-25T20:04:15.801" v="248" actId="47"/>
        <pc:sldMkLst>
          <pc:docMk/>
          <pc:sldMk cId="4073518245" sldId="490"/>
        </pc:sldMkLst>
      </pc:sldChg>
      <pc:sldMasterChg chg="delSldLayout">
        <pc:chgData name="Alex Barreira" userId="7fd0970c-b3cf-41cb-97a8-b008d4ec6ec9" providerId="ADAL" clId="{7E823099-46A7-4167-ACCC-148691D9D4C5}" dt="2020-08-25T20:00:58.566" v="0" actId="47"/>
        <pc:sldMasterMkLst>
          <pc:docMk/>
          <pc:sldMasterMk cId="0" sldId="2147483656"/>
        </pc:sldMasterMkLst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154182865" sldId="2147483667"/>
          </pc:sldLayoutMkLst>
        </pc:sldLayoutChg>
        <pc:sldLayoutChg chg="del">
          <pc:chgData name="Alex Barreira" userId="7fd0970c-b3cf-41cb-97a8-b008d4ec6ec9" providerId="ADAL" clId="{7E823099-46A7-4167-ACCC-148691D9D4C5}" dt="2020-08-25T20:00:58.566" v="0" actId="47"/>
          <pc:sldLayoutMkLst>
            <pc:docMk/>
            <pc:sldMasterMk cId="0" sldId="2147483656"/>
            <pc:sldLayoutMk cId="3084922465" sldId="2147483668"/>
          </pc:sldLayoutMkLst>
        </pc:sldLayoutChg>
      </pc:sldMasterChg>
    </pc:docChg>
  </pc:docChgLst>
</pc:chgInfo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05/10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05/10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3724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</a:t>
            </a:r>
            <a:r>
              <a:rPr lang="pt-BR" dirty="0" err="1"/>
              <a:t>GOTravel</a:t>
            </a:r>
            <a:r>
              <a:rPr lang="pt-BR" dirty="0"/>
              <a:t>!&gt; </a:t>
            </a:r>
          </a:p>
          <a:p>
            <a:r>
              <a:rPr lang="pt-BR" dirty="0"/>
              <a:t>Data: 28/09/2020</a:t>
            </a:r>
          </a:p>
          <a:p>
            <a:r>
              <a:rPr lang="pt-BR" dirty="0"/>
              <a:t>Professor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Status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–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OTrave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!</a:t>
            </a: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42608" y="245656"/>
            <a:ext cx="899679" cy="316238"/>
            <a:chOff x="6027434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2743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última semana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PMN</a:t>
            </a:r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Wireframes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do Front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omepage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login (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)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Aplicação Hospedada no </a:t>
            </a:r>
            <a:r>
              <a:rPr lang="pt-BR" sz="1323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Heroku</a:t>
            </a: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 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ntidade e relacionamento</a:t>
            </a: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131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projeto</a:t>
            </a: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20" b="1" dirty="0" err="1">
                <a:latin typeface="Calibri" panose="020F0502020204030204" pitchFamily="34" charset="0"/>
                <a:cs typeface="Simplon BP Regular"/>
              </a:rPr>
              <a:t>Api</a:t>
            </a:r>
            <a:r>
              <a:rPr lang="pt-BR" sz="1320" b="1" dirty="0">
                <a:latin typeface="Calibri" panose="020F0502020204030204" pitchFamily="34" charset="0"/>
                <a:cs typeface="Simplon BP Regular"/>
              </a:rPr>
              <a:t> do Google </a:t>
            </a:r>
            <a:r>
              <a:rPr lang="pt-BR" sz="1320" b="1" dirty="0" err="1">
                <a:latin typeface="Calibri" panose="020F0502020204030204" pitchFamily="34" charset="0"/>
                <a:cs typeface="Simplon BP Regular"/>
              </a:rPr>
              <a:t>Maps</a:t>
            </a: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252049" indent="-252049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tIns="105844" numCol="3" rtlCol="0" anchor="ctr"/>
          <a:lstStyle/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Back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Validação de login</a:t>
            </a: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Gerar arquivo de itinerário</a:t>
            </a:r>
          </a:p>
          <a:p>
            <a:pPr marL="252049" lvl="1" indent="-252049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efinir dados a serem enviados </a:t>
            </a:r>
          </a:p>
          <a:p>
            <a:pPr marL="0" lvl="1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Front </a:t>
            </a:r>
            <a:r>
              <a:rPr lang="pt-BR" sz="1323" b="1" dirty="0" err="1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nd</a:t>
            </a: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inalizar login e cadastro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stilização da validação de dados </a:t>
            </a:r>
          </a:p>
          <a:p>
            <a:pPr marL="0" lvl="1" defTabSz="672130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Documentaçã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r vertente interna do BPMN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stad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20"/>
          <p:cNvSpPr>
            <a:spLocks noChangeAspect="1"/>
          </p:cNvSpPr>
          <p:nvPr/>
        </p:nvSpPr>
        <p:spPr>
          <a:xfrm>
            <a:off x="11878494" y="308795"/>
            <a:ext cx="211404" cy="211689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5" name="Oval 120">
            <a:extLst>
              <a:ext uri="{FF2B5EF4-FFF2-40B4-BE49-F238E27FC236}">
                <a16:creationId xmlns:a16="http://schemas.microsoft.com/office/drawing/2014/main" id="{12ED55B7-0783-48A5-991A-C640DA4A540A}"/>
              </a:ext>
            </a:extLst>
          </p:cNvPr>
          <p:cNvSpPr>
            <a:spLocks noChangeAspect="1"/>
          </p:cNvSpPr>
          <p:nvPr/>
        </p:nvSpPr>
        <p:spPr>
          <a:xfrm>
            <a:off x="9295266" y="304816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6" name="Oval 124">
            <a:extLst>
              <a:ext uri="{FF2B5EF4-FFF2-40B4-BE49-F238E27FC236}">
                <a16:creationId xmlns:a16="http://schemas.microsoft.com/office/drawing/2014/main" id="{998C3F4E-3C6D-4923-9E45-E7B6B6CC8BAE}"/>
              </a:ext>
            </a:extLst>
          </p:cNvPr>
          <p:cNvSpPr>
            <a:spLocks noChangeAspect="1"/>
          </p:cNvSpPr>
          <p:nvPr/>
        </p:nvSpPr>
        <p:spPr>
          <a:xfrm>
            <a:off x="10925711" y="297930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Oval 115">
            <a:extLst>
              <a:ext uri="{FF2B5EF4-FFF2-40B4-BE49-F238E27FC236}">
                <a16:creationId xmlns:a16="http://schemas.microsoft.com/office/drawing/2014/main" id="{1F88FCF3-A604-473B-9A05-D3E6BB8070D6}"/>
              </a:ext>
            </a:extLst>
          </p:cNvPr>
          <p:cNvSpPr>
            <a:spLocks noChangeAspect="1"/>
          </p:cNvSpPr>
          <p:nvPr/>
        </p:nvSpPr>
        <p:spPr>
          <a:xfrm>
            <a:off x="11193909" y="297930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260886" y="16153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:a16="http://schemas.microsoft.com/office/drawing/2014/main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:a16="http://schemas.microsoft.com/office/drawing/2014/main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:a16="http://schemas.microsoft.com/office/drawing/2014/main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:a16="http://schemas.microsoft.com/office/drawing/2014/main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:a16="http://schemas.microsoft.com/office/drawing/2014/main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31267F-D399-4A8A-87F8-B75F56828412}">
  <ds:schemaRefs>
    <ds:schemaRef ds:uri="4327b14a-fe89-488e-9f6d-9658cacf372b"/>
    <ds:schemaRef ds:uri="http://purl.org/dc/terms/"/>
    <ds:schemaRef ds:uri="bbcd8c33-6940-4d4c-a587-bbc736ca1e4d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42</TotalTime>
  <Words>384</Words>
  <Application>Microsoft Office PowerPoint</Application>
  <PresentationFormat>Personalizar</PresentationFormat>
  <Paragraphs>113</Paragraphs>
  <Slides>8</Slides>
  <Notes>4</Notes>
  <HiddenSlides>2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21" baseType="lpstr">
      <vt:lpstr>Arial</vt:lpstr>
      <vt:lpstr>Calibri</vt:lpstr>
      <vt:lpstr>Exo 2</vt:lpstr>
      <vt:lpstr>Lucida Sans Unicode</vt:lpstr>
      <vt:lpstr>Simplon BP</vt:lpstr>
      <vt:lpstr>Simplon BP Bold</vt:lpstr>
      <vt:lpstr>Simplon BP Regular</vt:lpstr>
      <vt:lpstr>Simplon Oi Headline</vt:lpstr>
      <vt:lpstr>Wingdings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Status geral – GOTravel!</vt:lpstr>
      <vt:lpstr>Apresentação do PowerPoint</vt:lpstr>
      <vt:lpstr>Apresentação do PowerPoint</vt:lpstr>
      <vt:lpstr>Exemplo 2 de Timeline para o projeto por semana</vt:lpstr>
      <vt:lpstr>Ex. ArquiteturaV1</vt:lpstr>
      <vt:lpstr>Ex. ArquiteturaV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Arthur</cp:lastModifiedBy>
  <cp:revision>359</cp:revision>
  <cp:lastPrinted>2018-08-30T22:45:44Z</cp:lastPrinted>
  <dcterms:created xsi:type="dcterms:W3CDTF">2016-12-01T16:19:35Z</dcterms:created>
  <dcterms:modified xsi:type="dcterms:W3CDTF">2020-10-05T19:2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